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2" r:id="rId11"/>
    <p:sldId id="551" r:id="rId12"/>
    <p:sldId id="269" r:id="rId13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60"/>
  </p:normalViewPr>
  <p:slideViewPr>
    <p:cSldViewPr snapToGrid="0">
      <p:cViewPr varScale="1">
        <p:scale>
          <a:sx n="69" d="100"/>
          <a:sy n="69" d="100"/>
        </p:scale>
        <p:origin x="48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04.11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ing.oreilly.com/library/view/beginning-t-sql-a/9781484266069/html/326954_4_En_1_Chapter.xhtml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biportal.cz/en/t-sql-online-quiz-for-beginners/" TargetMode="Externa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learning.oreilly.com/library/view/t-sql-fundamentals-third/9781509302031/ch10.html#ch10lev1sec6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</a:t>
            </a:r>
            <a:r>
              <a:rPr lang="de-DE" dirty="0" smtClean="0"/>
              <a:t>8: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Transact </a:t>
            </a:r>
            <a:r>
              <a:rPr lang="de-DE" dirty="0" smtClean="0"/>
              <a:t>SQL </a:t>
            </a:r>
            <a:r>
              <a:rPr lang="de-DE" dirty="0" smtClean="0"/>
              <a:t>Day </a:t>
            </a:r>
            <a:r>
              <a:rPr lang="de-DE" dirty="0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</a:t>
            </a:r>
            <a:r>
              <a:rPr lang="de-DE" dirty="0" smtClean="0"/>
              <a:t>04</a:t>
            </a:r>
            <a:r>
              <a:rPr lang="de-DE" dirty="0" smtClean="0"/>
              <a:t>.11.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Transact SQ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-SQL stands for Transact Structure Query Language which is a Microsoft product and is an extension of SQL </a:t>
            </a:r>
            <a:r>
              <a:rPr lang="en-IN" dirty="0" smtClean="0"/>
              <a:t>Langu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-SQL (Transact-SQL) is a set of programming extensions from Sybase and Microsoft that add several features to the Structured Query Language (SQL), including transaction control, exception and error handling, row processing and declared variables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 smtClean="0"/>
              <a:t>Go </a:t>
            </a:r>
            <a:r>
              <a:rPr lang="en-IN" dirty="0"/>
              <a:t>through the below training </a:t>
            </a:r>
            <a:r>
              <a:rPr lang="en-IN" dirty="0" smtClean="0"/>
              <a:t>material- </a:t>
            </a:r>
            <a:r>
              <a:rPr lang="en-IN" dirty="0" smtClean="0"/>
              <a:t>Chapter 6-11</a:t>
            </a:r>
            <a:r>
              <a:rPr lang="en-IN" dirty="0" smtClean="0"/>
              <a:t>:</a:t>
            </a:r>
            <a:endParaRPr lang="en-IN" dirty="0"/>
          </a:p>
          <a:p>
            <a:r>
              <a:rPr lang="en-IN" dirty="0">
                <a:hlinkClick r:id="rId2"/>
              </a:rPr>
              <a:t>https://</a:t>
            </a:r>
            <a:r>
              <a:rPr lang="en-IN" dirty="0" smtClean="0">
                <a:hlinkClick r:id="rId2"/>
              </a:rPr>
              <a:t>learning.oreilly.com/library/view/beginning-t-sql-a/9781484266069/html/326954_4_En_1_Chapter.xhtml</a:t>
            </a:r>
            <a:endParaRPr lang="en-IN" dirty="0" smtClean="0"/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 smtClean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 smtClean="0">
                <a:hlinkClick r:id="rId2"/>
              </a:rPr>
              <a:t>https</a:t>
            </a:r>
            <a:r>
              <a:rPr lang="en-IN" dirty="0">
                <a:hlinkClick r:id="rId2"/>
              </a:rPr>
              <a:t>://biportal.cz/en/t-sql-online-quiz-for-beginners</a:t>
            </a:r>
            <a:r>
              <a:rPr lang="en-IN" dirty="0" smtClean="0">
                <a:hlinkClick r:id="rId2"/>
              </a:rPr>
              <a:t>/</a:t>
            </a:r>
            <a:endParaRPr lang="en-IN" dirty="0" smtClean="0"/>
          </a:p>
          <a:p>
            <a:endParaRPr lang="en-IN" dirty="0" smtClean="0"/>
          </a:p>
          <a:p>
            <a:pPr marL="228600" indent="-228600">
              <a:buFont typeface="+mj-lt"/>
              <a:buAutoNum type="arabicPeriod"/>
            </a:pP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2858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>
                <a:hlinkClick r:id="rId2"/>
              </a:rPr>
              <a:t>https://</a:t>
            </a:r>
            <a:r>
              <a:rPr lang="en-IN" dirty="0" smtClean="0">
                <a:hlinkClick r:id="rId2"/>
              </a:rPr>
              <a:t>learning.oreilly.com/library/view/t-sql-fundamentals-third/9781509302031/ch10.html#ch10lev1sec6</a:t>
            </a:r>
            <a:endParaRPr lang="en-IN" dirty="0" smtClean="0"/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13834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b25a6b-c331-498f-ac02-98ce6d560a92">
      <UserInfo>
        <DisplayName>Mannoor Dhingra</DisplayName>
        <AccountId>9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1CE87F7706DD48AC70C1EDA7E5CF83" ma:contentTypeVersion="9" ma:contentTypeDescription="Create a new document." ma:contentTypeScope="" ma:versionID="f32b151c2b56e513f0b65072b1b15cc7">
  <xsd:schema xmlns:xsd="http://www.w3.org/2001/XMLSchema" xmlns:xs="http://www.w3.org/2001/XMLSchema" xmlns:p="http://schemas.microsoft.com/office/2006/metadata/properties" xmlns:ns3="2f4d8767-48e3-420d-8739-60f2e2a55fa7" xmlns:ns4="9db25a6b-c331-498f-ac02-98ce6d560a92" targetNamespace="http://schemas.microsoft.com/office/2006/metadata/properties" ma:root="true" ma:fieldsID="7a3fee368aecc65d11576a1b8738721e" ns3:_="" ns4:_="">
    <xsd:import namespace="2f4d8767-48e3-420d-8739-60f2e2a55fa7"/>
    <xsd:import namespace="9db25a6b-c331-498f-ac02-98ce6d560a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4d8767-48e3-420d-8739-60f2e2a55f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b25a6b-c331-498f-ac02-98ce6d560a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968C43-48D2-47B2-884B-9CA0EE399ADE}">
  <ds:schemaRefs>
    <ds:schemaRef ds:uri="9db25a6b-c331-498f-ac02-98ce6d560a92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f4d8767-48e3-420d-8739-60f2e2a55fa7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33BBCE-D99C-4C38-9DF9-5530C8C37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4d8767-48e3-420d-8739-60f2e2a55fa7"/>
    <ds:schemaRef ds:uri="9db25a6b-c331-498f-ac02-98ce6d560a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160</Words>
  <Application>Microsoft Office PowerPoint</Application>
  <PresentationFormat>Breitbild</PresentationFormat>
  <Paragraphs>47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8:  Transact SQL Day 2</vt:lpstr>
      <vt:lpstr>Agenda 04.11.2022</vt:lpstr>
      <vt:lpstr>Introduction to Transact SQL</vt:lpstr>
      <vt:lpstr>Material</vt:lpstr>
      <vt:lpstr>Questions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75</cp:revision>
  <dcterms:created xsi:type="dcterms:W3CDTF">2022-02-14T14:16:18Z</dcterms:created>
  <dcterms:modified xsi:type="dcterms:W3CDTF">2022-11-04T07:5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